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89" r:id="rId4"/>
  </p:sldMasterIdLst>
  <p:notesMasterIdLst>
    <p:notesMasterId r:id="rId9"/>
  </p:notesMasterIdLst>
  <p:handoutMasterIdLst>
    <p:handoutMasterId r:id="rId10"/>
  </p:handoutMasterIdLst>
  <p:sldIdLst>
    <p:sldId id="256" r:id="rId5"/>
    <p:sldId id="268" r:id="rId6"/>
    <p:sldId id="267" r:id="rId7"/>
    <p:sldId id="265" r:id="rId8"/>
  </p:sldIdLst>
  <p:sldSz cx="12671425" cy="7127875"/>
  <p:notesSz cx="6858000" cy="9144000"/>
  <p:custDataLst>
    <p:tags r:id="rId11"/>
  </p:custDataLst>
  <p:defaultTextStyle>
    <a:defPPr>
      <a:defRPr lang="en-US"/>
    </a:defPPr>
    <a:lvl1pPr marL="0" algn="l" defTabSz="475115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1pPr>
    <a:lvl2pPr marL="475115" algn="l" defTabSz="475115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2pPr>
    <a:lvl3pPr marL="950231" algn="l" defTabSz="475115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3pPr>
    <a:lvl4pPr marL="1425346" algn="l" defTabSz="475115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4pPr>
    <a:lvl5pPr marL="1900461" algn="l" defTabSz="475115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5pPr>
    <a:lvl6pPr marL="2375575" algn="l" defTabSz="475115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6pPr>
    <a:lvl7pPr marL="2850691" algn="l" defTabSz="475115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7pPr>
    <a:lvl8pPr marL="3325806" algn="l" defTabSz="475115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8pPr>
    <a:lvl9pPr marL="3800921" algn="l" defTabSz="475115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80BDABE-B1A1-422A-BE8C-9AED374BE524}">
          <p14:sldIdLst>
            <p14:sldId id="256"/>
            <p14:sldId id="268"/>
            <p14:sldId id="267"/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ristine Scheid [INTENSE AG]" initials="CS[A" lastIdx="21" clrIdx="6">
    <p:extLst>
      <p:ext uri="{19B8F6BF-5375-455C-9EA6-DF929625EA0E}">
        <p15:presenceInfo xmlns:p15="http://schemas.microsoft.com/office/powerpoint/2012/main" userId="S::Christine.Scheid@intense.de::ee442020-fd6f-4a40-a4f1-11e390292555" providerId="AD"/>
      </p:ext>
    </p:extLst>
  </p:cmAuthor>
  <p:cmAuthor id="1" name="André Schneider [INTENSE AG]" initials="AA" lastIdx="10" clrIdx="0">
    <p:extLst>
      <p:ext uri="{19B8F6BF-5375-455C-9EA6-DF929625EA0E}">
        <p15:presenceInfo xmlns:p15="http://schemas.microsoft.com/office/powerpoint/2012/main" userId="S::andre.schneider@intense.de::e6253810-0772-4e61-bb72-3878636ddb6a" providerId="AD"/>
      </p:ext>
    </p:extLst>
  </p:cmAuthor>
  <p:cmAuthor id="8" name="Reinhold Hugenroth [INTENSE AG]" initials="RA" lastIdx="4" clrIdx="7">
    <p:extLst>
      <p:ext uri="{19B8F6BF-5375-455C-9EA6-DF929625EA0E}">
        <p15:presenceInfo xmlns:p15="http://schemas.microsoft.com/office/powerpoint/2012/main" userId="S::reinhold.hugenroth@intense.de::937cdb57-0672-4909-bc09-90182918d1b5" providerId="AD"/>
      </p:ext>
    </p:extLst>
  </p:cmAuthor>
  <p:cmAuthor id="2" name="Torsten Lindner [INTENSE AG]" initials="TL[A" lastIdx="35" clrIdx="1">
    <p:extLst>
      <p:ext uri="{19B8F6BF-5375-455C-9EA6-DF929625EA0E}">
        <p15:presenceInfo xmlns:p15="http://schemas.microsoft.com/office/powerpoint/2012/main" userId="S::Torsten.Lindner@intense.de::d7a0d621-a73c-49e6-ace5-6ca1ac045216" providerId="AD"/>
      </p:ext>
    </p:extLst>
  </p:cmAuthor>
  <p:cmAuthor id="3" name="Jan Smolka [INTENSE AG]" initials="JS[A" lastIdx="41" clrIdx="2">
    <p:extLst>
      <p:ext uri="{19B8F6BF-5375-455C-9EA6-DF929625EA0E}">
        <p15:presenceInfo xmlns:p15="http://schemas.microsoft.com/office/powerpoint/2012/main" userId="S::Jan.Smolka@intense.de::f1d41cc0-7185-4ee0-a2c6-7f639146a16a" providerId="AD"/>
      </p:ext>
    </p:extLst>
  </p:cmAuthor>
  <p:cmAuthor id="4" name="Andreas Poetschk [INTENSE AG]" initials="AP[A" lastIdx="17" clrIdx="3">
    <p:extLst>
      <p:ext uri="{19B8F6BF-5375-455C-9EA6-DF929625EA0E}">
        <p15:presenceInfo xmlns:p15="http://schemas.microsoft.com/office/powerpoint/2012/main" userId="S::Andreas.Poetschk@intense.de::1bee3d02-a030-412c-8009-3e5821ab1197" providerId="AD"/>
      </p:ext>
    </p:extLst>
  </p:cmAuthor>
  <p:cmAuthor id="5" name="Christof Pillong [INTENSE AG]" initials="CA" lastIdx="71" clrIdx="4">
    <p:extLst>
      <p:ext uri="{19B8F6BF-5375-455C-9EA6-DF929625EA0E}">
        <p15:presenceInfo xmlns:p15="http://schemas.microsoft.com/office/powerpoint/2012/main" userId="S::christof.pillong@intense.de::31c78488-31cb-4723-a30d-49b85594ed9e" providerId="AD"/>
      </p:ext>
    </p:extLst>
  </p:cmAuthor>
  <p:cmAuthor id="6" name="Dominik Panzer [INTENSE AG]" initials="DP[A" lastIdx="7" clrIdx="5">
    <p:extLst>
      <p:ext uri="{19B8F6BF-5375-455C-9EA6-DF929625EA0E}">
        <p15:presenceInfo xmlns:p15="http://schemas.microsoft.com/office/powerpoint/2012/main" userId="S::Dominik.Panzer@intense.de::dda5a61f-073a-4f99-966d-181082b3181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FA5AB"/>
    <a:srgbClr val="415055"/>
    <a:srgbClr val="CDA541"/>
    <a:srgbClr val="945055"/>
    <a:srgbClr val="EB5046"/>
    <a:srgbClr val="003C78"/>
    <a:srgbClr val="6E787D"/>
    <a:srgbClr val="82C3E6"/>
    <a:srgbClr val="CDD2D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5088" autoAdjust="0"/>
  </p:normalViewPr>
  <p:slideViewPr>
    <p:cSldViewPr snapToGrid="0">
      <p:cViewPr varScale="1">
        <p:scale>
          <a:sx n="82" d="100"/>
          <a:sy n="82" d="100"/>
        </p:scale>
        <p:origin x="153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62E156DE-D34A-41C3-A530-7265B600C62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AE012E9-49DE-4751-B3CC-B330EB23E95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67A90A-8AA1-4391-9C33-CFD583C1F804}" type="datetimeFigureOut">
              <a:rPr lang="de-DE" smtClean="0"/>
              <a:t>30.1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35AF17-68E1-404B-8DAA-B76073CEEF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1670282-528D-4454-B500-663115DF198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87AA2E-D8F0-4109-B6B6-1B2D1775F2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4639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067BE2-6812-493F-BF59-4710DB684A03}" type="datetimeFigureOut">
              <a:rPr lang="de-DE" smtClean="0"/>
              <a:t>30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EC188E-10B8-46AE-A070-5D24725BA44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330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0231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1pPr>
    <a:lvl2pPr marL="475115" algn="l" defTabSz="950231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2pPr>
    <a:lvl3pPr marL="950231" algn="l" defTabSz="950231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3pPr>
    <a:lvl4pPr marL="1425346" algn="l" defTabSz="950231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4pPr>
    <a:lvl5pPr marL="1900461" algn="l" defTabSz="950231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5pPr>
    <a:lvl6pPr marL="2375575" algn="l" defTabSz="950231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6pPr>
    <a:lvl7pPr marL="2850691" algn="l" defTabSz="950231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7pPr>
    <a:lvl8pPr marL="3325806" algn="l" defTabSz="950231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8pPr>
    <a:lvl9pPr marL="3800921" algn="l" defTabSz="950231" rtl="0" eaLnBrk="1" latinLnBrk="0" hangingPunct="1">
      <a:defRPr sz="12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EC188E-10B8-46AE-A070-5D24725BA446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511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80B796-2E02-4861-A17B-8CA2F38281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9211852"/>
              </p:ext>
            </p:extLst>
          </p:nvPr>
        </p:nvGraphicFramePr>
        <p:xfrm>
          <a:off x="1650" y="1652"/>
          <a:ext cx="1651" cy="16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80B796-2E02-4861-A17B-8CA2F38281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50" y="1652"/>
                        <a:ext cx="1651" cy="16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F7E157B-49BD-4D0D-98F1-B2D1F47712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4992" cy="1649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3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91025" y="3152539"/>
            <a:ext cx="7790599" cy="647700"/>
          </a:xfr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3300"/>
              </a:lnSpc>
              <a:defRPr lang="en-US" dirty="0"/>
            </a:lvl1pPr>
          </a:lstStyle>
          <a:p>
            <a:pPr lvl="0"/>
            <a:r>
              <a:rPr lang="de-DE" dirty="0"/>
              <a:t>Dokumententitel</a:t>
            </a:r>
            <a:br>
              <a:rPr lang="de-DE" dirty="0"/>
            </a:br>
            <a:r>
              <a:rPr lang="de-DE" dirty="0"/>
              <a:t>max. 2-Zeilig</a:t>
            </a:r>
            <a:endParaRPr lang="en-US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59856DA-D7F0-4627-B72A-CB71BE374E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5506" y="4859337"/>
            <a:ext cx="6306119" cy="1620838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lnSpc>
                <a:spcPts val="2100"/>
              </a:lnSpc>
              <a:spcBef>
                <a:spcPts val="600"/>
              </a:spcBef>
              <a:buNone/>
              <a:defRPr sz="1600">
                <a:solidFill>
                  <a:srgbClr val="415055"/>
                </a:solidFill>
              </a:defRPr>
            </a:lvl1pPr>
            <a:lvl2pPr marL="475160" indent="0">
              <a:buNone/>
              <a:defRPr sz="1247">
                <a:solidFill>
                  <a:srgbClr val="415055"/>
                </a:solidFill>
              </a:defRPr>
            </a:lvl2pPr>
            <a:lvl3pPr marL="950320" indent="0">
              <a:buNone/>
              <a:defRPr sz="1247">
                <a:solidFill>
                  <a:srgbClr val="415055"/>
                </a:solidFill>
              </a:defRPr>
            </a:lvl3pPr>
            <a:lvl4pPr marL="1425480" indent="0">
              <a:buNone/>
              <a:defRPr sz="1247">
                <a:solidFill>
                  <a:srgbClr val="415055"/>
                </a:solidFill>
              </a:defRPr>
            </a:lvl4pPr>
            <a:lvl5pPr marL="1900639" indent="0">
              <a:buNone/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Ergänzende Dokumenteninformation</a:t>
            </a:r>
          </a:p>
        </p:txBody>
      </p:sp>
      <p:pic>
        <p:nvPicPr>
          <p:cNvPr id="10" name="Logo oben" descr="Ein Bild, das Essen, Zeichnung enthält.&#10;&#10;Automatisch generierte Beschreibung">
            <a:extLst>
              <a:ext uri="{FF2B5EF4-FFF2-40B4-BE49-F238E27FC236}">
                <a16:creationId xmlns:a16="http://schemas.microsoft.com/office/drawing/2014/main" id="{63BF9965-53F7-0B4A-A3E7-6B01E9E0995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6022" y="499083"/>
            <a:ext cx="2707126" cy="828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7E4B97B7-3776-5B48-BB87-5888776736A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736851"/>
            <a:ext cx="4391024" cy="4391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30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ED12BF-48D8-45E6-B379-9123EAC7BF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6442162"/>
              </p:ext>
            </p:extLst>
          </p:nvPr>
        </p:nvGraphicFramePr>
        <p:xfrm>
          <a:off x="1746" y="1747"/>
          <a:ext cx="1747" cy="17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ED12BF-48D8-45E6-B379-9123EAC7B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6" y="1747"/>
                        <a:ext cx="1747" cy="17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A0926BF-262A-4009-AB00-4FB97CFE22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610" cy="1746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118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5BBD8E4-6D9D-0B4C-8D32-83DF2E76B9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59563" y="6804025"/>
            <a:ext cx="6010354" cy="323855"/>
          </a:xfrm>
        </p:spPr>
        <p:txBody>
          <a:bodyPr/>
          <a:lstStyle>
            <a:lvl1pPr>
              <a:lnSpc>
                <a:spcPts val="1300"/>
              </a:lnSpc>
              <a:defRPr/>
            </a:lvl1pPr>
          </a:lstStyle>
          <a:p>
            <a:r>
              <a:rPr lang="de-DE" dirty="0"/>
              <a:t>INTENSE AG | </a:t>
            </a:r>
            <a:fld id="{1AECD170-D2B3-4E4C-A20D-E298409E7030}" type="slidenum">
              <a:rPr smtClean="0"/>
              <a:pPr/>
              <a:t>‹Nr.›</a:t>
            </a:fld>
            <a:endParaRPr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8CC820AB-BB9B-2C43-A202-8DF884D173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23850"/>
            <a:ext cx="11664950" cy="647700"/>
          </a:xfrm>
        </p:spPr>
        <p:txBody>
          <a:bodyPr anchor="ctr"/>
          <a:lstStyle/>
          <a:p>
            <a:r>
              <a:rPr lang="fr-FR" dirty="0"/>
              <a:t>Agenda / </a:t>
            </a:r>
            <a:r>
              <a:rPr lang="fr-FR" dirty="0" err="1"/>
              <a:t>Inhalt</a:t>
            </a:r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FCB148A9-5F27-164A-9C6B-7CA2B42E1F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" y="0"/>
            <a:ext cx="5688010" cy="323849"/>
          </a:xfrm>
        </p:spPr>
        <p:txBody>
          <a:bodyPr lIns="144000" tIns="0" rIns="0" bIns="0" anchor="ctr">
            <a:noAutofit/>
          </a:bodyPr>
          <a:lstStyle>
            <a:lvl1pPr marL="0" indent="0" algn="l" defTabSz="475160" rtl="0" eaLnBrk="1" latinLnBrk="0" hangingPunct="1">
              <a:lnSpc>
                <a:spcPts val="1300"/>
              </a:lnSpc>
              <a:spcBef>
                <a:spcPts val="0"/>
              </a:spcBef>
              <a:buClr>
                <a:srgbClr val="003C78"/>
              </a:buClr>
              <a:buFontTx/>
              <a:buNone/>
              <a:defRPr lang="de-DE" sz="1000" kern="1200" dirty="0" smtClean="0">
                <a:solidFill>
                  <a:srgbClr val="9FA5AB"/>
                </a:solidFill>
                <a:latin typeface="+mn-lt"/>
                <a:ea typeface="+mn-ea"/>
                <a:cs typeface="+mn-cs"/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Dokumententitel und / oder Kapiteltitel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20FD5D0F-CA20-A84C-A2C1-D507CD6183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8127" y="1628203"/>
            <a:ext cx="6480062" cy="323851"/>
          </a:xfrm>
        </p:spPr>
        <p:txBody>
          <a:bodyPr lIns="144000" tIns="0" rIns="0" bIns="0" anchor="ctr">
            <a:noAutofit/>
          </a:bodyPr>
          <a:lstStyle>
            <a:lvl1pPr marL="415765" indent="-415765">
              <a:lnSpc>
                <a:spcPts val="2100"/>
              </a:lnSpc>
              <a:spcBef>
                <a:spcPts val="0"/>
              </a:spcBef>
              <a:buClr>
                <a:srgbClr val="003C78"/>
              </a:buClr>
              <a:buSzPct val="150000"/>
              <a:buFont typeface="+mj-lt"/>
              <a:buAutoNum type="arabicPeriod"/>
              <a:tabLst/>
              <a:defRPr sz="1600" b="0">
                <a:solidFill>
                  <a:schemeClr val="tx1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252AEB74-E810-144F-B667-F3E60FAB37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8012" y="2192429"/>
            <a:ext cx="6480175" cy="324000"/>
          </a:xfrm>
        </p:spPr>
        <p:txBody>
          <a:bodyPr lIns="144000" tIns="0" rIns="0" bIns="0" anchor="ctr">
            <a:noAutofit/>
          </a:bodyPr>
          <a:lstStyle>
            <a:lvl1pPr marL="415765" indent="-415765">
              <a:lnSpc>
                <a:spcPts val="2100"/>
              </a:lnSpc>
              <a:spcBef>
                <a:spcPts val="0"/>
              </a:spcBef>
              <a:buClr>
                <a:srgbClr val="003C78"/>
              </a:buClr>
              <a:buSzPct val="150000"/>
              <a:buFont typeface="+mj-lt"/>
              <a:buAutoNum type="arabicPeriod" startAt="2"/>
              <a:tabLst/>
              <a:defRPr sz="1600" b="0">
                <a:solidFill>
                  <a:schemeClr val="tx1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0429B126-542F-D74E-B36A-FEC90924B0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88012" y="2756803"/>
            <a:ext cx="6480175" cy="324000"/>
          </a:xfrm>
        </p:spPr>
        <p:txBody>
          <a:bodyPr lIns="144000" tIns="0" rIns="0" bIns="0" anchor="ctr">
            <a:noAutofit/>
          </a:bodyPr>
          <a:lstStyle>
            <a:lvl1pPr marL="415765" indent="-415765">
              <a:lnSpc>
                <a:spcPts val="2100"/>
              </a:lnSpc>
              <a:spcBef>
                <a:spcPts val="0"/>
              </a:spcBef>
              <a:buClr>
                <a:srgbClr val="003C78"/>
              </a:buClr>
              <a:buSzPct val="150000"/>
              <a:buFont typeface="+mj-lt"/>
              <a:buAutoNum type="arabicPeriod" startAt="3"/>
              <a:tabLst/>
              <a:defRPr sz="1600" b="0">
                <a:solidFill>
                  <a:schemeClr val="tx1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5546F614-BF8E-9B4F-8BA2-464CDE0769A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88012" y="3321177"/>
            <a:ext cx="6480175" cy="324000"/>
          </a:xfrm>
        </p:spPr>
        <p:txBody>
          <a:bodyPr lIns="144000" tIns="0" rIns="0" bIns="0" anchor="ctr">
            <a:noAutofit/>
          </a:bodyPr>
          <a:lstStyle>
            <a:lvl1pPr marL="415765" indent="-415765">
              <a:lnSpc>
                <a:spcPts val="2100"/>
              </a:lnSpc>
              <a:spcBef>
                <a:spcPts val="0"/>
              </a:spcBef>
              <a:buClr>
                <a:srgbClr val="003C78"/>
              </a:buClr>
              <a:buSzPct val="150000"/>
              <a:buFont typeface="+mj-lt"/>
              <a:buAutoNum type="arabicPeriod" startAt="4"/>
              <a:tabLst/>
              <a:defRPr sz="1600" b="0">
                <a:solidFill>
                  <a:schemeClr val="tx1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60D32763-7A83-644B-8A44-2598742D997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88137" y="3885551"/>
            <a:ext cx="6480175" cy="324000"/>
          </a:xfrm>
        </p:spPr>
        <p:txBody>
          <a:bodyPr lIns="144000" tIns="0" rIns="0" bIns="0" anchor="ctr">
            <a:noAutofit/>
          </a:bodyPr>
          <a:lstStyle>
            <a:lvl1pPr marL="415765" indent="-415765">
              <a:lnSpc>
                <a:spcPts val="2100"/>
              </a:lnSpc>
              <a:spcBef>
                <a:spcPts val="0"/>
              </a:spcBef>
              <a:buClr>
                <a:srgbClr val="003C78"/>
              </a:buClr>
              <a:buSzPct val="150000"/>
              <a:buFont typeface="+mj-lt"/>
              <a:buAutoNum type="arabicPeriod" startAt="5"/>
              <a:tabLst/>
              <a:defRPr sz="1600" b="0">
                <a:solidFill>
                  <a:schemeClr val="tx1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E3169145-7ECB-A04E-B7FB-1DDD3125B8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88012" y="4449925"/>
            <a:ext cx="6480175" cy="324000"/>
          </a:xfrm>
        </p:spPr>
        <p:txBody>
          <a:bodyPr lIns="144000" tIns="0" rIns="0" bIns="0" anchor="ctr">
            <a:noAutofit/>
          </a:bodyPr>
          <a:lstStyle>
            <a:lvl1pPr marL="415765" indent="-415765">
              <a:lnSpc>
                <a:spcPts val="2100"/>
              </a:lnSpc>
              <a:spcBef>
                <a:spcPts val="0"/>
              </a:spcBef>
              <a:buClr>
                <a:srgbClr val="003C78"/>
              </a:buClr>
              <a:buSzPct val="150000"/>
              <a:buFont typeface="+mj-lt"/>
              <a:buAutoNum type="arabicPeriod" startAt="6"/>
              <a:tabLst/>
              <a:defRPr sz="1600" b="0">
                <a:solidFill>
                  <a:schemeClr val="tx1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/>
              <a:t>…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6F2D0505-8368-EB4E-B002-EFDD5C40D8A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88137" y="5014299"/>
            <a:ext cx="6480175" cy="324000"/>
          </a:xfrm>
        </p:spPr>
        <p:txBody>
          <a:bodyPr lIns="144000" tIns="0" rIns="0" bIns="0" anchor="ctr">
            <a:noAutofit/>
          </a:bodyPr>
          <a:lstStyle>
            <a:lvl1pPr marL="415765" indent="-415765">
              <a:lnSpc>
                <a:spcPts val="2100"/>
              </a:lnSpc>
              <a:spcBef>
                <a:spcPts val="0"/>
              </a:spcBef>
              <a:buClr>
                <a:srgbClr val="003C78"/>
              </a:buClr>
              <a:buSzPct val="150000"/>
              <a:buFont typeface="+mj-lt"/>
              <a:buAutoNum type="arabicPeriod" startAt="7"/>
              <a:tabLst/>
              <a:defRPr sz="1600" b="0">
                <a:solidFill>
                  <a:schemeClr val="tx1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…</a:t>
            </a:r>
          </a:p>
        </p:txBody>
      </p:sp>
      <p:sp>
        <p:nvSpPr>
          <p:cNvPr id="36" name="Textplatzhalter 4">
            <a:extLst>
              <a:ext uri="{FF2B5EF4-FFF2-40B4-BE49-F238E27FC236}">
                <a16:creationId xmlns:a16="http://schemas.microsoft.com/office/drawing/2014/main" id="{705DD4B3-8533-9040-80C5-59FA5AAEAC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88137" y="5578673"/>
            <a:ext cx="6480175" cy="324000"/>
          </a:xfrm>
        </p:spPr>
        <p:txBody>
          <a:bodyPr lIns="144000" tIns="0" rIns="0" bIns="0" anchor="ctr">
            <a:noAutofit/>
          </a:bodyPr>
          <a:lstStyle>
            <a:lvl1pPr marL="415765" indent="-415765">
              <a:lnSpc>
                <a:spcPts val="2100"/>
              </a:lnSpc>
              <a:spcBef>
                <a:spcPts val="0"/>
              </a:spcBef>
              <a:buClr>
                <a:srgbClr val="003C78"/>
              </a:buClr>
              <a:buSzPct val="150000"/>
              <a:buFont typeface="+mj-lt"/>
              <a:buAutoNum type="arabicPeriod" startAt="8"/>
              <a:tabLst/>
              <a:defRPr sz="1600" b="0">
                <a:solidFill>
                  <a:schemeClr val="tx1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/>
              <a:t>…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AC79AEFC-AC32-214A-AD78-C5DEF274BDB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688137" y="6143050"/>
            <a:ext cx="6480175" cy="324000"/>
          </a:xfrm>
        </p:spPr>
        <p:txBody>
          <a:bodyPr lIns="144000" tIns="0" rIns="0" bIns="0" anchor="ctr">
            <a:noAutofit/>
          </a:bodyPr>
          <a:lstStyle>
            <a:lvl1pPr marL="415765" indent="-415765">
              <a:lnSpc>
                <a:spcPts val="2100"/>
              </a:lnSpc>
              <a:spcBef>
                <a:spcPts val="0"/>
              </a:spcBef>
              <a:buClr>
                <a:srgbClr val="003C78"/>
              </a:buClr>
              <a:buSzPct val="150000"/>
              <a:buFont typeface="+mj-lt"/>
              <a:buAutoNum type="arabicPeriod" startAt="9"/>
              <a:tabLst/>
              <a:defRPr sz="1600" b="0">
                <a:solidFill>
                  <a:schemeClr val="tx1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/>
              <a:t>…</a:t>
            </a:r>
          </a:p>
        </p:txBody>
      </p:sp>
      <p:pic>
        <p:nvPicPr>
          <p:cNvPr id="20" name="Logo unten">
            <a:extLst>
              <a:ext uri="{FF2B5EF4-FFF2-40B4-BE49-F238E27FC236}">
                <a16:creationId xmlns:a16="http://schemas.microsoft.com/office/drawing/2014/main" id="{ED403813-EF10-2945-968D-D2C3B0BEEEA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69"/>
          <a:stretch/>
        </p:blipFill>
        <p:spPr>
          <a:xfrm>
            <a:off x="1" y="4374951"/>
            <a:ext cx="2805287" cy="2752928"/>
          </a:xfrm>
          <a:prstGeom prst="rect">
            <a:avLst/>
          </a:prstGeom>
        </p:spPr>
      </p:pic>
      <p:pic>
        <p:nvPicPr>
          <p:cNvPr id="21" name="Bildplatzhalter 15" descr="Ein Bild, das draußen, Person, Mann, Sonnenuntergang enthält.&#10;&#10;Automatisch generierte Beschreibung">
            <a:extLst>
              <a:ext uri="{FF2B5EF4-FFF2-40B4-BE49-F238E27FC236}">
                <a16:creationId xmlns:a16="http://schemas.microsoft.com/office/drawing/2014/main" id="{FBB7107B-F4E7-7D49-BA49-A2B79AE6DAF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8325" y="2821238"/>
            <a:ext cx="3664480" cy="3664581"/>
          </a:xfrm>
          <a:prstGeom prst="rect">
            <a:avLst/>
          </a:prstGeom>
        </p:spPr>
      </p:pic>
      <p:pic>
        <p:nvPicPr>
          <p:cNvPr id="23" name="Logo oben">
            <a:extLst>
              <a:ext uri="{FF2B5EF4-FFF2-40B4-BE49-F238E27FC236}">
                <a16:creationId xmlns:a16="http://schemas.microsoft.com/office/drawing/2014/main" id="{590356E5-F539-9241-A915-A1A4E257FCB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88000" y="144000"/>
            <a:ext cx="539986" cy="540000"/>
          </a:xfrm>
          <a:prstGeom prst="rect">
            <a:avLst/>
          </a:prstGeom>
        </p:spPr>
      </p:pic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89F814E-6843-7D4D-BF4E-1B6C6BA3623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97970" y="2821238"/>
            <a:ext cx="3664480" cy="3646237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879190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B50F8F45-ACAE-3843-A6E2-01EC603013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35713"/>
            <a:ext cx="12169696" cy="5892162"/>
          </a:xfrm>
          <a:prstGeom prst="rect">
            <a:avLst/>
          </a:prstGeom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273D671-24E3-4AD6-9648-54D030955E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928649"/>
              </p:ext>
            </p:extLst>
          </p:nvPr>
        </p:nvGraphicFramePr>
        <p:xfrm>
          <a:off x="1650" y="1652"/>
          <a:ext cx="1651" cy="16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273D671-24E3-4AD6-9648-54D030955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50" y="1652"/>
                        <a:ext cx="1651" cy="16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A57E80-3BC1-C747-BA24-E892CCADBF42}"/>
              </a:ext>
            </a:extLst>
          </p:cNvPr>
          <p:cNvSpPr>
            <a:spLocks noGrp="1" noChangeAspect="1"/>
          </p:cNvSpPr>
          <p:nvPr>
            <p:ph type="body" idx="19" hasCustomPrompt="1"/>
          </p:nvPr>
        </p:nvSpPr>
        <p:spPr>
          <a:xfrm>
            <a:off x="2665531" y="3844434"/>
            <a:ext cx="560975" cy="560990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>
                <a:solidFill>
                  <a:schemeClr val="bg1"/>
                </a:solidFill>
              </a:defRPr>
            </a:lvl1pPr>
            <a:lvl2pPr marL="475160" indent="0">
              <a:buNone/>
              <a:defRPr sz="2079">
                <a:solidFill>
                  <a:schemeClr val="tx1">
                    <a:tint val="75000"/>
                  </a:schemeClr>
                </a:solidFill>
              </a:defRPr>
            </a:lvl2pPr>
            <a:lvl3pPr marL="950320" indent="0">
              <a:buNone/>
              <a:defRPr sz="1871">
                <a:solidFill>
                  <a:schemeClr val="tx1">
                    <a:tint val="75000"/>
                  </a:schemeClr>
                </a:solidFill>
              </a:defRPr>
            </a:lvl3pPr>
            <a:lvl4pPr marL="1425480" indent="0">
              <a:buNone/>
              <a:defRPr sz="1663">
                <a:solidFill>
                  <a:schemeClr val="tx1">
                    <a:tint val="75000"/>
                  </a:schemeClr>
                </a:solidFill>
              </a:defRPr>
            </a:lvl4pPr>
            <a:lvl5pPr marL="1900639" indent="0">
              <a:buNone/>
              <a:defRPr sz="1663">
                <a:solidFill>
                  <a:schemeClr val="tx1">
                    <a:tint val="75000"/>
                  </a:schemeClr>
                </a:solidFill>
              </a:defRPr>
            </a:lvl5pPr>
            <a:lvl6pPr marL="2375799" indent="0">
              <a:buNone/>
              <a:defRPr sz="1663">
                <a:solidFill>
                  <a:schemeClr val="tx1">
                    <a:tint val="75000"/>
                  </a:schemeClr>
                </a:solidFill>
              </a:defRPr>
            </a:lvl6pPr>
            <a:lvl7pPr marL="2850961" indent="0">
              <a:buNone/>
              <a:defRPr sz="1663">
                <a:solidFill>
                  <a:schemeClr val="tx1">
                    <a:tint val="75000"/>
                  </a:schemeClr>
                </a:solidFill>
              </a:defRPr>
            </a:lvl7pPr>
            <a:lvl8pPr marL="3326121" indent="0">
              <a:buNone/>
              <a:defRPr sz="1663">
                <a:solidFill>
                  <a:schemeClr val="tx1">
                    <a:tint val="75000"/>
                  </a:schemeClr>
                </a:solidFill>
              </a:defRPr>
            </a:lvl8pPr>
            <a:lvl9pPr marL="3801281" indent="0">
              <a:buNone/>
              <a:defRPr sz="166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F0EFD60-E11F-2045-9FC2-A17D081E4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313" y="1619251"/>
            <a:ext cx="6480175" cy="1296987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ts val="33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bezeichnung</a:t>
            </a:r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5534E480-59FD-384C-8AB6-CECC082EDD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0313" y="3476436"/>
            <a:ext cx="6480175" cy="1296986"/>
          </a:xfrm>
        </p:spPr>
        <p:txBody>
          <a:bodyPr anchor="ctr">
            <a:noAutofit/>
          </a:bodyPr>
          <a:lstStyle>
            <a:lvl1pPr marL="0" indent="0">
              <a:lnSpc>
                <a:spcPts val="2100"/>
              </a:lnSpc>
              <a:spcBef>
                <a:spcPts val="600"/>
              </a:spcBef>
              <a:buFontTx/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Ergänzende Informationen / Zusammenfassung für das Kapitel</a:t>
            </a:r>
          </a:p>
        </p:txBody>
      </p:sp>
      <p:sp>
        <p:nvSpPr>
          <p:cNvPr id="18" name="Fußzeilenplatzhalter 2">
            <a:extLst>
              <a:ext uri="{FF2B5EF4-FFF2-40B4-BE49-F238E27FC236}">
                <a16:creationId xmlns:a16="http://schemas.microsoft.com/office/drawing/2014/main" id="{C028BE5E-C51D-DA49-A08A-FA7CC0C7DB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59563" y="6804025"/>
            <a:ext cx="6010354" cy="323855"/>
          </a:xfrm>
        </p:spPr>
        <p:txBody>
          <a:bodyPr/>
          <a:lstStyle>
            <a:lvl1pPr>
              <a:lnSpc>
                <a:spcPts val="1300"/>
              </a:lnSpc>
              <a:defRPr/>
            </a:lvl1pPr>
          </a:lstStyle>
          <a:p>
            <a:r>
              <a:rPr lang="de-DE" dirty="0"/>
              <a:t>INTENSE AG | </a:t>
            </a:r>
            <a:fld id="{1AECD170-D2B3-4E4C-A20D-E298409E7030}" type="slidenum">
              <a:rPr smtClean="0"/>
              <a:pPr/>
              <a:t>‹Nr.›</a:t>
            </a:fld>
            <a:endParaRPr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2BE57C9-DE51-D64B-BBE0-997E1D08C1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" y="0"/>
            <a:ext cx="5688010" cy="323849"/>
          </a:xfrm>
        </p:spPr>
        <p:txBody>
          <a:bodyPr lIns="144000" tIns="0" rIns="0" bIns="0" anchor="ctr">
            <a:noAutofit/>
          </a:bodyPr>
          <a:lstStyle>
            <a:lvl1pPr marL="0" indent="0" algn="l" defTabSz="475160" rtl="0" eaLnBrk="1" latinLnBrk="0" hangingPunct="1">
              <a:lnSpc>
                <a:spcPts val="1300"/>
              </a:lnSpc>
              <a:spcBef>
                <a:spcPts val="0"/>
              </a:spcBef>
              <a:buClr>
                <a:srgbClr val="003C78"/>
              </a:buClr>
              <a:buFontTx/>
              <a:buNone/>
              <a:defRPr lang="de-DE" sz="1000" kern="1200" dirty="0" smtClean="0">
                <a:solidFill>
                  <a:srgbClr val="9FA5AB"/>
                </a:solidFill>
                <a:latin typeface="+mn-lt"/>
                <a:ea typeface="+mn-ea"/>
                <a:cs typeface="+mn-cs"/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Dokumententitel und / oder Kapiteltitel</a:t>
            </a:r>
          </a:p>
        </p:txBody>
      </p:sp>
    </p:spTree>
    <p:extLst>
      <p:ext uri="{BB962C8B-B14F-4D97-AF65-F5344CB8AC3E}">
        <p14:creationId xmlns:p14="http://schemas.microsoft.com/office/powerpoint/2010/main" val="3571767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G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5C65A2-2817-4A0E-AB3C-03900D375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271792"/>
              </p:ext>
            </p:extLst>
          </p:nvPr>
        </p:nvGraphicFramePr>
        <p:xfrm>
          <a:off x="1746" y="1747"/>
          <a:ext cx="1747" cy="17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5C65A2-2817-4A0E-AB3C-03900D375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6" y="1747"/>
                        <a:ext cx="1747" cy="17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70956D2-C69E-4F64-BE11-EF953514C1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610" cy="1746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118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D9AAE361-AAC4-724C-860F-CF80C278A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23849"/>
            <a:ext cx="11664950" cy="647701"/>
          </a:xfrm>
        </p:spPr>
        <p:txBody>
          <a:bodyPr anchor="ctr"/>
          <a:lstStyle/>
          <a:p>
            <a:r>
              <a:rPr lang="fr-FR" dirty="0"/>
              <a:t>Headline 30pt. / 1-zeilig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03ECABD7-CF19-2D40-9E6B-3CD4880730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971550"/>
            <a:ext cx="11664950" cy="323850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ts val="2300"/>
              </a:lnSpc>
              <a:spcBef>
                <a:spcPts val="900"/>
              </a:spcBef>
              <a:buClr>
                <a:srgbClr val="003C78"/>
              </a:buClr>
              <a:buFontTx/>
              <a:buNone/>
              <a:defRPr sz="1800" b="0">
                <a:solidFill>
                  <a:srgbClr val="0078C3"/>
                </a:solidFill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Subheadline / </a:t>
            </a:r>
            <a:r>
              <a:rPr lang="de-DE" dirty="0" err="1"/>
              <a:t>Schriftgr</a:t>
            </a:r>
            <a:r>
              <a:rPr lang="de-DE" dirty="0"/>
              <a:t>. 18pt. / max. 1-zeilig</a:t>
            </a:r>
          </a:p>
        </p:txBody>
      </p:sp>
      <p:pic>
        <p:nvPicPr>
          <p:cNvPr id="14" name="Logo oben">
            <a:extLst>
              <a:ext uri="{FF2B5EF4-FFF2-40B4-BE49-F238E27FC236}">
                <a16:creationId xmlns:a16="http://schemas.microsoft.com/office/drawing/2014/main" id="{5F5F8923-935E-604C-9FA8-CE4A94C9D6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88000" y="144000"/>
            <a:ext cx="539986" cy="540000"/>
          </a:xfrm>
          <a:prstGeom prst="rect">
            <a:avLst/>
          </a:prstGeom>
        </p:spPr>
      </p:pic>
      <p:sp>
        <p:nvSpPr>
          <p:cNvPr id="13" name="Fussnote">
            <a:extLst>
              <a:ext uri="{FF2B5EF4-FFF2-40B4-BE49-F238E27FC236}">
                <a16:creationId xmlns:a16="http://schemas.microsoft.com/office/drawing/2014/main" id="{36BCC86C-EB3C-D045-A45A-2855160593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6480176"/>
            <a:ext cx="5508625" cy="647700"/>
          </a:xfrm>
        </p:spPr>
        <p:txBody>
          <a:bodyPr lIns="0" tIns="36000" rIns="0" bIns="0" anchor="t">
            <a:noAutofit/>
          </a:bodyPr>
          <a:lstStyle>
            <a:lvl1pPr marL="0" indent="0" algn="l" defTabSz="475160" rtl="0" eaLnBrk="1" latinLnBrk="0" hangingPunct="1">
              <a:lnSpc>
                <a:spcPts val="1300"/>
              </a:lnSpc>
              <a:spcBef>
                <a:spcPts val="0"/>
              </a:spcBef>
              <a:buClr>
                <a:srgbClr val="003C78"/>
              </a:buClr>
              <a:buFontTx/>
              <a:buNone/>
              <a:defRPr lang="de-DE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Fußnote, Legende, Kommentar, etc..</a:t>
            </a:r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483A76D8-FEE0-004A-810B-E8A74CBD6B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59563" y="6804025"/>
            <a:ext cx="6010354" cy="323855"/>
          </a:xfrm>
        </p:spPr>
        <p:txBody>
          <a:bodyPr/>
          <a:lstStyle>
            <a:lvl1pPr>
              <a:lnSpc>
                <a:spcPts val="1300"/>
              </a:lnSpc>
              <a:defRPr/>
            </a:lvl1pPr>
          </a:lstStyle>
          <a:p>
            <a:r>
              <a:rPr lang="de-DE" dirty="0"/>
              <a:t>INTENSE AG | </a:t>
            </a:r>
            <a:fld id="{1AECD170-D2B3-4E4C-A20D-E298409E7030}" type="slidenum">
              <a:rPr smtClean="0"/>
              <a:pPr/>
              <a:t>‹Nr.›</a:t>
            </a:fld>
            <a:endParaRPr dirty="0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EEB766AD-54D3-654D-B14B-E5003864D2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" y="0"/>
            <a:ext cx="5688010" cy="323849"/>
          </a:xfrm>
        </p:spPr>
        <p:txBody>
          <a:bodyPr lIns="144000" tIns="0" rIns="0" bIns="0" anchor="ctr">
            <a:noAutofit/>
          </a:bodyPr>
          <a:lstStyle>
            <a:lvl1pPr marL="0" indent="0" algn="l" defTabSz="475160" rtl="0" eaLnBrk="1" latinLnBrk="0" hangingPunct="1">
              <a:lnSpc>
                <a:spcPts val="1300"/>
              </a:lnSpc>
              <a:spcBef>
                <a:spcPts val="0"/>
              </a:spcBef>
              <a:buClr>
                <a:srgbClr val="003C78"/>
              </a:buClr>
              <a:buFontTx/>
              <a:buNone/>
              <a:defRPr lang="de-DE" sz="1000" kern="1200" dirty="0" smtClean="0">
                <a:solidFill>
                  <a:srgbClr val="9FA5AB"/>
                </a:solidFill>
                <a:latin typeface="+mn-lt"/>
                <a:ea typeface="+mn-ea"/>
                <a:cs typeface="+mn-cs"/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Dokumententitel und / oder Kapiteltit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24CE0C7-44B3-C54A-B2A5-9297377E634A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2156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D1657255-5283-8346-BB2E-24025571F75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3238" y="2143125"/>
            <a:ext cx="5508625" cy="43370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A47B386-1F53-4161-894D-96F1630D0B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712079"/>
              </p:ext>
            </p:extLst>
          </p:nvPr>
        </p:nvGraphicFramePr>
        <p:xfrm>
          <a:off x="1746" y="1747"/>
          <a:ext cx="1747" cy="17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A47B386-1F53-4161-894D-96F1630D0B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6" y="1747"/>
                        <a:ext cx="1747" cy="17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0119C63-3FF7-4810-A20F-7D925B207D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610" cy="1746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118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2678CC2-C6BE-A84F-B152-E558FD8E1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23851"/>
            <a:ext cx="11664950" cy="647700"/>
          </a:xfrm>
        </p:spPr>
        <p:txBody>
          <a:bodyPr anchor="ctr"/>
          <a:lstStyle/>
          <a:p>
            <a:r>
              <a:rPr lang="fr-FR" dirty="0"/>
              <a:t>Headline 30pt. / 1-zeilig</a:t>
            </a:r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04158368-1ACF-6944-8585-EFF430185F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989480"/>
            <a:ext cx="5508625" cy="97313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1800" b="0" dirty="0">
                <a:solidFill>
                  <a:srgbClr val="0078C3"/>
                </a:solidFill>
              </a:defRPr>
            </a:lvl1pPr>
          </a:lstStyle>
          <a:p>
            <a:pPr lvl="0">
              <a:lnSpc>
                <a:spcPts val="2300"/>
              </a:lnSpc>
              <a:buFontTx/>
            </a:pPr>
            <a:r>
              <a:rPr lang="de-DE" dirty="0"/>
              <a:t>Subheadline / Schriftgröße 18pt. / max. 3-zeilig</a:t>
            </a:r>
          </a:p>
        </p:txBody>
      </p:sp>
      <p:sp>
        <p:nvSpPr>
          <p:cNvPr id="7" name="Textbox rechts">
            <a:extLst>
              <a:ext uri="{FF2B5EF4-FFF2-40B4-BE49-F238E27FC236}">
                <a16:creationId xmlns:a16="http://schemas.microsoft.com/office/drawing/2014/main" id="{BBF959A3-CC08-EC4A-AACE-7AEAD66170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59562" y="971550"/>
            <a:ext cx="5508625" cy="5508626"/>
          </a:xfrm>
        </p:spPr>
        <p:txBody>
          <a:bodyPr t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3" name="Logo oben">
            <a:extLst>
              <a:ext uri="{FF2B5EF4-FFF2-40B4-BE49-F238E27FC236}">
                <a16:creationId xmlns:a16="http://schemas.microsoft.com/office/drawing/2014/main" id="{D1513C84-6249-7549-98C7-2FE53AA3D25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88000" y="144000"/>
            <a:ext cx="539986" cy="540000"/>
          </a:xfrm>
          <a:prstGeom prst="rect">
            <a:avLst/>
          </a:prstGeom>
        </p:spPr>
      </p:pic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70315EA8-0D35-7E4D-8D1F-BDB32DAFDFD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59563" y="6804025"/>
            <a:ext cx="6010354" cy="323855"/>
          </a:xfrm>
        </p:spPr>
        <p:txBody>
          <a:bodyPr/>
          <a:lstStyle>
            <a:lvl1pPr>
              <a:lnSpc>
                <a:spcPts val="1300"/>
              </a:lnSpc>
              <a:defRPr/>
            </a:lvl1pPr>
          </a:lstStyle>
          <a:p>
            <a:r>
              <a:rPr lang="de-DE" dirty="0"/>
              <a:t>INTENSE AG | </a:t>
            </a:r>
            <a:fld id="{1AECD170-D2B3-4E4C-A20D-E298409E7030}" type="slidenum">
              <a:rPr smtClean="0"/>
              <a:pPr/>
              <a:t>‹Nr.›</a:t>
            </a:fld>
            <a:endParaRPr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BEE76BFB-421F-CB4B-BEB0-1FA4FF7E92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" y="0"/>
            <a:ext cx="5688010" cy="323849"/>
          </a:xfrm>
        </p:spPr>
        <p:txBody>
          <a:bodyPr lIns="144000" tIns="0" rIns="0" bIns="0" anchor="ctr">
            <a:noAutofit/>
          </a:bodyPr>
          <a:lstStyle>
            <a:lvl1pPr marL="0" indent="0" algn="l" defTabSz="475160" rtl="0" eaLnBrk="1" latinLnBrk="0" hangingPunct="1">
              <a:lnSpc>
                <a:spcPts val="1300"/>
              </a:lnSpc>
              <a:spcBef>
                <a:spcPts val="0"/>
              </a:spcBef>
              <a:buClr>
                <a:srgbClr val="003C78"/>
              </a:buClr>
              <a:buFontTx/>
              <a:buNone/>
              <a:defRPr lang="de-DE" sz="1000" kern="1200" dirty="0" smtClean="0">
                <a:solidFill>
                  <a:srgbClr val="9FA5AB"/>
                </a:solidFill>
                <a:latin typeface="+mn-lt"/>
                <a:ea typeface="+mn-ea"/>
                <a:cs typeface="+mn-cs"/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Dokumententitel und / oder Kapiteltitel</a:t>
            </a:r>
          </a:p>
        </p:txBody>
      </p:sp>
      <p:sp>
        <p:nvSpPr>
          <p:cNvPr id="15" name="Fussnote">
            <a:extLst>
              <a:ext uri="{FF2B5EF4-FFF2-40B4-BE49-F238E27FC236}">
                <a16:creationId xmlns:a16="http://schemas.microsoft.com/office/drawing/2014/main" id="{0A603B19-E37E-8C43-8956-EDAFE9FFEA9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6480176"/>
            <a:ext cx="5508625" cy="647700"/>
          </a:xfrm>
        </p:spPr>
        <p:txBody>
          <a:bodyPr lIns="0" tIns="36000" rIns="0" bIns="0" anchor="t">
            <a:noAutofit/>
          </a:bodyPr>
          <a:lstStyle>
            <a:lvl1pPr marL="0" indent="0" algn="l" defTabSz="475160" rtl="0" eaLnBrk="1" latinLnBrk="0" hangingPunct="1">
              <a:lnSpc>
                <a:spcPts val="1300"/>
              </a:lnSpc>
              <a:spcBef>
                <a:spcPts val="0"/>
              </a:spcBef>
              <a:buClr>
                <a:srgbClr val="003C78"/>
              </a:buClr>
              <a:buFontTx/>
              <a:buNone/>
              <a:defRPr lang="de-DE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Fußnote, Legende, Kommentar, etc..</a:t>
            </a:r>
          </a:p>
        </p:txBody>
      </p:sp>
    </p:spTree>
    <p:extLst>
      <p:ext uri="{BB962C8B-B14F-4D97-AF65-F5344CB8AC3E}">
        <p14:creationId xmlns:p14="http://schemas.microsoft.com/office/powerpoint/2010/main" val="3251076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EAC147D-A42A-8848-A006-CAE0E9AE2EF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308850" y="2159000"/>
            <a:ext cx="4859338" cy="43211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949CC13-4BC5-4DF1-8F3D-EEF16BD6D3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367056"/>
              </p:ext>
            </p:extLst>
          </p:nvPr>
        </p:nvGraphicFramePr>
        <p:xfrm>
          <a:off x="1650" y="1652"/>
          <a:ext cx="1651" cy="16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949CC13-4BC5-4DF1-8F3D-EEF16BD6D3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50" y="1652"/>
                        <a:ext cx="1651" cy="16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DFC0F52-AF91-4BD7-8EE7-D8940F0AC4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4992" cy="1649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r-FR" sz="3118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A8BBF8C6-E8D9-4640-915F-9534C0C66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8187" y="323849"/>
            <a:ext cx="4860000" cy="647701"/>
          </a:xfrm>
        </p:spPr>
        <p:txBody>
          <a:bodyPr anchor="ctr"/>
          <a:lstStyle/>
          <a:p>
            <a:r>
              <a:rPr lang="fr-FR" dirty="0"/>
              <a:t>Headline 30pt. / 1-zeilig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2CDDAC5-5310-3B42-81DF-EF17F270E9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08187" y="971550"/>
            <a:ext cx="4860000" cy="9720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1800" b="0" dirty="0">
                <a:solidFill>
                  <a:srgbClr val="0078C3"/>
                </a:solidFill>
              </a:defRPr>
            </a:lvl1pPr>
          </a:lstStyle>
          <a:p>
            <a:pPr lvl="0">
              <a:lnSpc>
                <a:spcPts val="2300"/>
              </a:lnSpc>
              <a:buFontTx/>
            </a:pPr>
            <a:r>
              <a:rPr lang="de-DE" dirty="0"/>
              <a:t>Subheadline / Schriftgröße 18pt. / max. 3-zeilig</a:t>
            </a:r>
          </a:p>
        </p:txBody>
      </p:sp>
      <p:pic>
        <p:nvPicPr>
          <p:cNvPr id="14" name="Logo oben">
            <a:extLst>
              <a:ext uri="{FF2B5EF4-FFF2-40B4-BE49-F238E27FC236}">
                <a16:creationId xmlns:a16="http://schemas.microsoft.com/office/drawing/2014/main" id="{C53445B2-7F25-CA4D-9EDF-420DA64980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88000" y="144000"/>
            <a:ext cx="539986" cy="540000"/>
          </a:xfrm>
          <a:prstGeom prst="rect">
            <a:avLst/>
          </a:prstGeom>
        </p:spPr>
      </p:pic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DB25D6A8-5C07-1048-8646-062EB9BB5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59563" y="6804025"/>
            <a:ext cx="6010354" cy="323855"/>
          </a:xfrm>
        </p:spPr>
        <p:txBody>
          <a:bodyPr/>
          <a:lstStyle>
            <a:lvl1pPr>
              <a:lnSpc>
                <a:spcPts val="1300"/>
              </a:lnSpc>
              <a:defRPr/>
            </a:lvl1pPr>
          </a:lstStyle>
          <a:p>
            <a:r>
              <a:rPr lang="de-DE" dirty="0"/>
              <a:t>INTENSE AG | </a:t>
            </a:r>
            <a:fld id="{1AECD170-D2B3-4E4C-A20D-E298409E7030}" type="slidenum">
              <a:rPr smtClean="0"/>
              <a:pPr/>
              <a:t>‹Nr.›</a:t>
            </a:fld>
            <a:endParaRPr dirty="0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F617FD60-F76C-9349-941F-61206072FF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" y="0"/>
            <a:ext cx="5688010" cy="323849"/>
          </a:xfrm>
        </p:spPr>
        <p:txBody>
          <a:bodyPr lIns="144000" tIns="0" rIns="0" bIns="0" anchor="ctr">
            <a:noAutofit/>
          </a:bodyPr>
          <a:lstStyle>
            <a:lvl1pPr marL="0" indent="0" algn="l" defTabSz="475160" rtl="0" eaLnBrk="1" latinLnBrk="0" hangingPunct="1">
              <a:lnSpc>
                <a:spcPts val="1300"/>
              </a:lnSpc>
              <a:spcBef>
                <a:spcPts val="0"/>
              </a:spcBef>
              <a:buClr>
                <a:srgbClr val="003C78"/>
              </a:buClr>
              <a:buFontTx/>
              <a:buNone/>
              <a:defRPr lang="de-DE" sz="1000" kern="1200" dirty="0" smtClean="0">
                <a:solidFill>
                  <a:srgbClr val="9FA5AB"/>
                </a:solidFill>
                <a:latin typeface="+mn-lt"/>
                <a:ea typeface="+mn-ea"/>
                <a:cs typeface="+mn-cs"/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Dokumententitel und / oder Kapiteltitel</a:t>
            </a:r>
          </a:p>
        </p:txBody>
      </p:sp>
      <p:sp>
        <p:nvSpPr>
          <p:cNvPr id="17" name="Fussnote">
            <a:extLst>
              <a:ext uri="{FF2B5EF4-FFF2-40B4-BE49-F238E27FC236}">
                <a16:creationId xmlns:a16="http://schemas.microsoft.com/office/drawing/2014/main" id="{2EAFBE13-5BD4-F243-A2CB-1F28A3B1E3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3238" y="6480176"/>
            <a:ext cx="5508625" cy="647700"/>
          </a:xfrm>
        </p:spPr>
        <p:txBody>
          <a:bodyPr lIns="0" tIns="36000" rIns="0" bIns="0" anchor="t">
            <a:noAutofit/>
          </a:bodyPr>
          <a:lstStyle>
            <a:lvl1pPr marL="0" indent="0" algn="l" defTabSz="475160" rtl="0" eaLnBrk="1" latinLnBrk="0" hangingPunct="1">
              <a:lnSpc>
                <a:spcPts val="1300"/>
              </a:lnSpc>
              <a:spcBef>
                <a:spcPts val="0"/>
              </a:spcBef>
              <a:buClr>
                <a:srgbClr val="003C78"/>
              </a:buClr>
              <a:buFontTx/>
              <a:buNone/>
              <a:defRPr lang="de-DE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sz="1247">
                <a:solidFill>
                  <a:srgbClr val="415055"/>
                </a:solidFill>
              </a:defRPr>
            </a:lvl2pPr>
            <a:lvl3pPr>
              <a:defRPr sz="1247">
                <a:solidFill>
                  <a:srgbClr val="415055"/>
                </a:solidFill>
              </a:defRPr>
            </a:lvl3pPr>
            <a:lvl4pPr>
              <a:lnSpc>
                <a:spcPts val="1559"/>
              </a:lnSpc>
              <a:spcBef>
                <a:spcPts val="0"/>
              </a:spcBef>
              <a:defRPr sz="1247">
                <a:solidFill>
                  <a:srgbClr val="415055"/>
                </a:solidFill>
              </a:defRPr>
            </a:lvl4pPr>
            <a:lvl5pPr>
              <a:defRPr sz="1247">
                <a:solidFill>
                  <a:srgbClr val="415055"/>
                </a:solidFill>
              </a:defRPr>
            </a:lvl5pPr>
          </a:lstStyle>
          <a:p>
            <a:pPr lvl="0"/>
            <a:r>
              <a:rPr lang="de-DE" dirty="0"/>
              <a:t>Fußnote, Legende, Kommentar, etc.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8E23BBB-8F54-AD4F-AE3C-8B0621A47F1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238" y="971549"/>
            <a:ext cx="6480175" cy="55086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4534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4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1587230-04C4-4367-A770-1A608FF922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478642"/>
              </p:ext>
            </p:extLst>
          </p:nvPr>
        </p:nvGraphicFramePr>
        <p:xfrm>
          <a:off x="1746" y="1747"/>
          <a:ext cx="1747" cy="17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1587230-04C4-4367-A770-1A608FF92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6" y="1747"/>
                        <a:ext cx="1747" cy="17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00B6B6D-4643-4692-A4DD-34605EA6D2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610" cy="1746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118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8" name="Logo unten">
            <a:extLst>
              <a:ext uri="{FF2B5EF4-FFF2-40B4-BE49-F238E27FC236}">
                <a16:creationId xmlns:a16="http://schemas.microsoft.com/office/drawing/2014/main" id="{A25D14B5-3C7F-2349-9746-6BE8DE37BF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21"/>
          <a:stretch/>
        </p:blipFill>
        <p:spPr>
          <a:xfrm rot="16200000">
            <a:off x="9798041" y="4254496"/>
            <a:ext cx="2872485" cy="2874281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46EE8B7-FBEC-6542-99D3-96C63E7537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470606"/>
            <a:ext cx="11664950" cy="64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6" name="Logo oben" descr="Ein Bild, das Essen, Zeichnung enthält.&#10;&#10;Automatisch generierte Beschreibung">
            <a:extLst>
              <a:ext uri="{FF2B5EF4-FFF2-40B4-BE49-F238E27FC236}">
                <a16:creationId xmlns:a16="http://schemas.microsoft.com/office/drawing/2014/main" id="{9C33A11A-8ABC-9D46-AC92-DECB5FAA7A1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276" y="510388"/>
            <a:ext cx="2686483" cy="821686"/>
          </a:xfrm>
          <a:prstGeom prst="rect">
            <a:avLst/>
          </a:prstGeom>
        </p:spPr>
      </p:pic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F8EBCF-5ABF-C543-BCD3-666CD1F58F6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8276" y="4256086"/>
            <a:ext cx="3953936" cy="2224089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EEEAD49-16D5-BC45-AFA6-2A00CE7A247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41093" y="4255394"/>
            <a:ext cx="3953936" cy="22240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6175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563651B-F6FF-43FB-9A52-F883CDA16A01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54379561"/>
              </p:ext>
            </p:extLst>
          </p:nvPr>
        </p:nvGraphicFramePr>
        <p:xfrm>
          <a:off x="1650" y="1652"/>
          <a:ext cx="1651" cy="16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424" imgH="424" progId="TCLayout.ActiveDocument.1">
                  <p:embed/>
                </p:oleObj>
              </mc:Choice>
              <mc:Fallback>
                <p:oleObj name="think-cell Folie" r:id="rId11" imgW="424" imgH="4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563651B-F6FF-43FB-9A52-F883CDA16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50" y="1652"/>
                        <a:ext cx="1651" cy="16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59A74CB-EA7B-48C5-9B35-6C02FE772A5D}"/>
              </a:ext>
            </a:extLst>
          </p:cNvPr>
          <p:cNvSpPr/>
          <p:nvPr/>
        </p:nvSpPr>
        <p:spPr>
          <a:xfrm>
            <a:off x="0" y="0"/>
            <a:ext cx="164992" cy="1649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118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3238" y="323850"/>
            <a:ext cx="11664950" cy="6477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439863"/>
            <a:ext cx="11664950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B4EC60-7062-49B1-AC38-9404D80F82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5713" y="6804025"/>
            <a:ext cx="6334204" cy="323855"/>
          </a:xfrm>
          <a:prstGeom prst="rect">
            <a:avLst/>
          </a:prstGeom>
        </p:spPr>
        <p:txBody>
          <a:bodyPr vert="horz" lIns="91440" tIns="45720" rIns="144000" bIns="45720" rtlCol="0" anchor="ctr"/>
          <a:lstStyle>
            <a:lvl1pPr marL="0" algn="r" defTabSz="475160" rtl="0" eaLnBrk="1" latinLnBrk="0" hangingPunct="1">
              <a:lnSpc>
                <a:spcPts val="1300"/>
              </a:lnSpc>
              <a:defRPr lang="de-DE" sz="1000" kern="1200" smtClean="0">
                <a:solidFill>
                  <a:srgbClr val="9FA5AB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INTENSE AG | </a:t>
            </a:r>
            <a:fld id="{1AECD170-D2B3-4E4C-A20D-E298409E7030}" type="slidenum">
              <a:rPr smtClean="0"/>
              <a:pPr/>
              <a:t>‹Nr.›</a:t>
            </a:fld>
            <a:endParaRPr dirty="0"/>
          </a:p>
        </p:txBody>
      </p:sp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AE0B5E2-72FE-45CC-B8D4-D46132DBFCD7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64992" cy="1649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80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5" r:id="rId4"/>
    <p:sldLayoutId id="2147483693" r:id="rId5"/>
    <p:sldLayoutId id="2147483694" r:id="rId6"/>
    <p:sldLayoutId id="2147483696" r:id="rId7"/>
  </p:sldLayoutIdLst>
  <p:hf hdr="0" dt="0"/>
  <p:txStyles>
    <p:titleStyle>
      <a:lvl1pPr algn="l" defTabSz="950320" rtl="0" eaLnBrk="1" latinLnBrk="0" hangingPunct="1">
        <a:lnSpc>
          <a:spcPts val="3300"/>
        </a:lnSpc>
        <a:spcBef>
          <a:spcPct val="0"/>
        </a:spcBef>
        <a:buNone/>
        <a:defRPr sz="3000" kern="1200">
          <a:solidFill>
            <a:srgbClr val="415055"/>
          </a:solidFill>
          <a:latin typeface="+mj-lt"/>
          <a:ea typeface="+mj-ea"/>
          <a:cs typeface="+mj-cs"/>
        </a:defRPr>
      </a:lvl1pPr>
    </p:titleStyle>
    <p:bodyStyle>
      <a:lvl1pPr marL="0" indent="0" algn="l" defTabSz="950320" rtl="0" eaLnBrk="1" latinLnBrk="0" hangingPunct="1">
        <a:lnSpc>
          <a:spcPts val="1800"/>
        </a:lnSpc>
        <a:spcBef>
          <a:spcPts val="900"/>
        </a:spcBef>
        <a:buClr>
          <a:srgbClr val="003C78"/>
        </a:buClr>
        <a:buFont typeface="Wingdings" panose="05000000000000000000" pitchFamily="2" charset="2"/>
        <a:buNone/>
        <a:defRPr sz="1400" kern="1200">
          <a:solidFill>
            <a:srgbClr val="415055"/>
          </a:solidFill>
          <a:latin typeface="+mn-lt"/>
          <a:ea typeface="+mn-ea"/>
          <a:cs typeface="+mn-cs"/>
        </a:defRPr>
      </a:lvl1pPr>
      <a:lvl2pPr marL="234280" indent="-226032" algn="l" defTabSz="950320" rtl="0" eaLnBrk="1" latinLnBrk="0" hangingPunct="1">
        <a:lnSpc>
          <a:spcPts val="1800"/>
        </a:lnSpc>
        <a:spcBef>
          <a:spcPts val="900"/>
        </a:spcBef>
        <a:buClr>
          <a:srgbClr val="003C78"/>
        </a:buClr>
        <a:buFont typeface="Wingdings" panose="05000000000000000000" pitchFamily="2" charset="2"/>
        <a:buChar char="§"/>
        <a:tabLst/>
        <a:defRPr sz="1400" kern="1200">
          <a:solidFill>
            <a:srgbClr val="415055"/>
          </a:solidFill>
          <a:latin typeface="+mn-lt"/>
          <a:ea typeface="+mn-ea"/>
          <a:cs typeface="+mn-cs"/>
        </a:defRPr>
      </a:lvl2pPr>
      <a:lvl3pPr marL="245829" indent="-237579" algn="l" defTabSz="950320" rtl="0" eaLnBrk="1" latinLnBrk="0" hangingPunct="1">
        <a:lnSpc>
          <a:spcPts val="1800"/>
        </a:lnSpc>
        <a:spcBef>
          <a:spcPts val="900"/>
        </a:spcBef>
        <a:buClr>
          <a:srgbClr val="003C78"/>
        </a:buClr>
        <a:buFont typeface="+mj-lt"/>
        <a:buAutoNum type="arabicPeriod"/>
        <a:tabLst/>
        <a:defRPr sz="1400" kern="1200">
          <a:solidFill>
            <a:srgbClr val="415055"/>
          </a:solidFill>
          <a:latin typeface="+mn-lt"/>
          <a:ea typeface="+mn-ea"/>
          <a:cs typeface="+mn-cs"/>
        </a:defRPr>
      </a:lvl3pPr>
      <a:lvl4pPr marL="461960" indent="-227680" algn="l" defTabSz="950320" rtl="0" eaLnBrk="1" latinLnBrk="0" hangingPunct="1">
        <a:lnSpc>
          <a:spcPts val="1800"/>
        </a:lnSpc>
        <a:spcBef>
          <a:spcPts val="900"/>
        </a:spcBef>
        <a:buClr>
          <a:srgbClr val="003C78"/>
        </a:buClr>
        <a:buFont typeface="Symbol" pitchFamily="2" charset="2"/>
        <a:buChar char="-"/>
        <a:tabLst/>
        <a:defRPr sz="1400" kern="1200">
          <a:solidFill>
            <a:srgbClr val="415055"/>
          </a:solidFill>
          <a:latin typeface="+mn-lt"/>
          <a:ea typeface="+mn-ea"/>
          <a:cs typeface="+mn-cs"/>
        </a:defRPr>
      </a:lvl4pPr>
      <a:lvl5pPr marL="717550" indent="-255588" algn="l" defTabSz="950320" rtl="0" eaLnBrk="1" latinLnBrk="0" hangingPunct="1">
        <a:lnSpc>
          <a:spcPts val="1800"/>
        </a:lnSpc>
        <a:spcBef>
          <a:spcPts val="900"/>
        </a:spcBef>
        <a:buClr>
          <a:srgbClr val="003C78"/>
        </a:buClr>
        <a:buFont typeface="Symbol" pitchFamily="2" charset="2"/>
        <a:buChar char="-"/>
        <a:tabLst/>
        <a:defRPr sz="1400" kern="1200">
          <a:solidFill>
            <a:srgbClr val="415055"/>
          </a:solidFill>
          <a:latin typeface="+mn-lt"/>
          <a:ea typeface="+mn-ea"/>
          <a:cs typeface="+mn-cs"/>
        </a:defRPr>
      </a:lvl5pPr>
      <a:lvl6pPr marL="2613380" indent="-237579" algn="l" defTabSz="950320" rtl="0" eaLnBrk="1" latinLnBrk="0" hangingPunct="1">
        <a:lnSpc>
          <a:spcPct val="90000"/>
        </a:lnSpc>
        <a:spcBef>
          <a:spcPts val="519"/>
        </a:spcBef>
        <a:buFont typeface="Arial" panose="020B0604020202020204" pitchFamily="34" charset="0"/>
        <a:buChar char="•"/>
        <a:defRPr sz="1871" kern="1200">
          <a:solidFill>
            <a:schemeClr val="tx1"/>
          </a:solidFill>
          <a:latin typeface="+mn-lt"/>
          <a:ea typeface="+mn-ea"/>
          <a:cs typeface="+mn-cs"/>
        </a:defRPr>
      </a:lvl6pPr>
      <a:lvl7pPr marL="3088541" indent="-237579" algn="l" defTabSz="950320" rtl="0" eaLnBrk="1" latinLnBrk="0" hangingPunct="1">
        <a:lnSpc>
          <a:spcPct val="90000"/>
        </a:lnSpc>
        <a:spcBef>
          <a:spcPts val="519"/>
        </a:spcBef>
        <a:buFont typeface="Arial" panose="020B0604020202020204" pitchFamily="34" charset="0"/>
        <a:buChar char="•"/>
        <a:defRPr sz="1871" kern="1200">
          <a:solidFill>
            <a:schemeClr val="tx1"/>
          </a:solidFill>
          <a:latin typeface="+mn-lt"/>
          <a:ea typeface="+mn-ea"/>
          <a:cs typeface="+mn-cs"/>
        </a:defRPr>
      </a:lvl7pPr>
      <a:lvl8pPr marL="3563700" indent="-237579" algn="l" defTabSz="950320" rtl="0" eaLnBrk="1" latinLnBrk="0" hangingPunct="1">
        <a:lnSpc>
          <a:spcPct val="90000"/>
        </a:lnSpc>
        <a:spcBef>
          <a:spcPts val="519"/>
        </a:spcBef>
        <a:buFont typeface="Arial" panose="020B0604020202020204" pitchFamily="34" charset="0"/>
        <a:buChar char="•"/>
        <a:defRPr sz="1871" kern="1200">
          <a:solidFill>
            <a:schemeClr val="tx1"/>
          </a:solidFill>
          <a:latin typeface="+mn-lt"/>
          <a:ea typeface="+mn-ea"/>
          <a:cs typeface="+mn-cs"/>
        </a:defRPr>
      </a:lvl8pPr>
      <a:lvl9pPr marL="4038860" indent="-237579" algn="l" defTabSz="950320" rtl="0" eaLnBrk="1" latinLnBrk="0" hangingPunct="1">
        <a:lnSpc>
          <a:spcPct val="90000"/>
        </a:lnSpc>
        <a:spcBef>
          <a:spcPts val="519"/>
        </a:spcBef>
        <a:buFont typeface="Arial" panose="020B0604020202020204" pitchFamily="34" charset="0"/>
        <a:buChar char="•"/>
        <a:defRPr sz="18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0320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1pPr>
      <a:lvl2pPr marL="475160" algn="l" defTabSz="950320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2pPr>
      <a:lvl3pPr marL="950320" algn="l" defTabSz="950320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3pPr>
      <a:lvl4pPr marL="1425480" algn="l" defTabSz="950320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4pPr>
      <a:lvl5pPr marL="1900639" algn="l" defTabSz="950320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5pPr>
      <a:lvl6pPr marL="2375799" algn="l" defTabSz="950320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6pPr>
      <a:lvl7pPr marL="2850961" algn="l" defTabSz="950320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7pPr>
      <a:lvl8pPr marL="3326121" algn="l" defTabSz="950320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8pPr>
      <a:lvl9pPr marL="3801281" algn="l" defTabSz="950320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991" userDrawn="1">
          <p15:clr>
            <a:srgbClr val="F26B43"/>
          </p15:clr>
        </p15:guide>
        <p15:guide id="4" pos="3583" userDrawn="1">
          <p15:clr>
            <a:srgbClr val="F26B43"/>
          </p15:clr>
        </p15:guide>
        <p15:guide id="6" pos="2766" userDrawn="1">
          <p15:clr>
            <a:srgbClr val="F26B43"/>
          </p15:clr>
        </p15:guide>
        <p15:guide id="9" pos="1133" userDrawn="1">
          <p15:clr>
            <a:srgbClr val="F26B43"/>
          </p15:clr>
        </p15:guide>
        <p15:guide id="10" pos="4399" userDrawn="1">
          <p15:clr>
            <a:srgbClr val="F26B43"/>
          </p15:clr>
        </p15:guide>
        <p15:guide id="12" pos="5216" userDrawn="1">
          <p15:clr>
            <a:srgbClr val="F26B43"/>
          </p15:clr>
        </p15:guide>
        <p15:guide id="14" pos="6032" userDrawn="1">
          <p15:clr>
            <a:srgbClr val="F26B43"/>
          </p15:clr>
        </p15:guide>
        <p15:guide id="16" pos="6849" userDrawn="1">
          <p15:clr>
            <a:srgbClr val="F26B43"/>
          </p15:clr>
        </p15:guide>
        <p15:guide id="17" orient="horz" pos="907" userDrawn="1">
          <p15:clr>
            <a:srgbClr val="F26B43"/>
          </p15:clr>
        </p15:guide>
        <p15:guide id="18" orient="horz" pos="612" userDrawn="1">
          <p15:clr>
            <a:srgbClr val="F26B43"/>
          </p15:clr>
        </p15:guide>
        <p15:guide id="23" orient="horz" pos="1701" userDrawn="1">
          <p15:clr>
            <a:srgbClr val="F26B43"/>
          </p15:clr>
        </p15:guide>
        <p15:guide id="28" orient="horz" pos="3288" userDrawn="1">
          <p15:clr>
            <a:srgbClr val="F26B43"/>
          </p15:clr>
        </p15:guide>
        <p15:guide id="30" orient="horz" pos="204" userDrawn="1">
          <p15:clr>
            <a:srgbClr val="F26B43"/>
          </p15:clr>
        </p15:guide>
        <p15:guide id="34" pos="7665" userDrawn="1">
          <p15:clr>
            <a:srgbClr val="F26B43"/>
          </p15:clr>
        </p15:guide>
        <p15:guide id="35" pos="1950" userDrawn="1">
          <p15:clr>
            <a:srgbClr val="F26B43"/>
          </p15:clr>
        </p15:guide>
        <p15:guide id="37" pos="317" userDrawn="1">
          <p15:clr>
            <a:srgbClr val="F26B43"/>
          </p15:clr>
        </p15:guide>
        <p15:guide id="41" orient="horz" pos="4082" userDrawn="1">
          <p15:clr>
            <a:srgbClr val="F26B43"/>
          </p15:clr>
        </p15:guide>
        <p15:guide id="42" pos="4195" userDrawn="1">
          <p15:clr>
            <a:srgbClr val="F26B43"/>
          </p15:clr>
        </p15:guide>
        <p15:guide id="43" pos="3787" userDrawn="1">
          <p15:clr>
            <a:srgbClr val="F26B43"/>
          </p15:clr>
        </p15:guide>
        <p15:guide id="44" orient="horz" pos="24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Bundesnetzagentur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se.fraunhofer.de/content/dam/ise/de/documents/publications/studies/aktuelle-fakten-zur-photovoltaik-in-deutschland.pdf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A8673F3-273E-4A0E-97F8-C77E7692A6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749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401ECC8-C382-BB44-BDDE-115F7A2E195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E21FBB-E03F-A146-AA7D-79EFF1363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75313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8EF9E3-A0A4-1E42-554D-F831363605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sten Photovoltaik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3246AD8-ECA7-A578-FBC7-6E0FB787CF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657E346-8E21-A440-8B09-7B356C24EA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Bundesnetzagentur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EC1F58D-D07C-669F-772D-EFEEE2E216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NTENSE AG | </a:t>
            </a:r>
            <a:fld id="{1AECD170-D2B3-4E4C-A20D-E298409E7030}" type="slidenum">
              <a:rPr smtClean="0"/>
              <a:pPr/>
              <a:t>1</a:t>
            </a:fld>
            <a:endParaRPr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D00952C-CD6A-7884-552D-0CE1B4A5B1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107FE7F-CBD2-534E-1A4A-A15DC6D0D4EF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Die </a:t>
            </a:r>
            <a:r>
              <a:rPr lang="de-DE" sz="1800" b="1" dirty="0"/>
              <a:t>spezifischen Anlagenkosten </a:t>
            </a:r>
            <a:r>
              <a:rPr lang="de-DE" sz="1800" dirty="0"/>
              <a:t>liegen heute im Bereich von </a:t>
            </a:r>
            <a:r>
              <a:rPr lang="de-DE" sz="1800" b="1" dirty="0"/>
              <a:t>530 bis 1600 EUR/kW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i="0" dirty="0">
                <a:solidFill>
                  <a:srgbClr val="57676F"/>
                </a:solidFill>
                <a:effectLst/>
                <a:latin typeface="BundesSansWeb"/>
              </a:rPr>
              <a:t>Ausschreibungen Solaranlagen zweites Gebotstermin (Solar </a:t>
            </a:r>
            <a:r>
              <a:rPr lang="de-DE" sz="1800" b="0" i="0" dirty="0" err="1">
                <a:solidFill>
                  <a:srgbClr val="57676F"/>
                </a:solidFill>
                <a:effectLst/>
                <a:latin typeface="BundesSansWeb"/>
              </a:rPr>
              <a:t>Aufdach</a:t>
            </a:r>
            <a:r>
              <a:rPr lang="de-DE" sz="1800" b="0" i="0" dirty="0">
                <a:solidFill>
                  <a:srgbClr val="57676F"/>
                </a:solidFill>
                <a:effectLst/>
                <a:latin typeface="BundesSansWeb"/>
              </a:rPr>
              <a:t>) ist der </a:t>
            </a:r>
            <a:r>
              <a:rPr lang="de-DE" sz="1800" b="1" i="0" dirty="0">
                <a:solidFill>
                  <a:srgbClr val="57676F"/>
                </a:solidFill>
                <a:effectLst/>
                <a:latin typeface="BundesSansWeb"/>
              </a:rPr>
              <a:t>1. Dezember 2022 </a:t>
            </a:r>
          </a:p>
          <a:p>
            <a:pPr lvl="1" indent="0">
              <a:buNone/>
            </a:pPr>
            <a:r>
              <a:rPr lang="de-DE" sz="1800" i="0" dirty="0">
                <a:solidFill>
                  <a:srgbClr val="57676F"/>
                </a:solidFill>
                <a:effectLst/>
                <a:latin typeface="BundesSansWeb"/>
              </a:rPr>
              <a:t>-&gt; Entscheidend für die Ermittlung des Zuschlagswerts ist der Gebotswert des abgegebenen Gebots. </a:t>
            </a:r>
            <a:r>
              <a:rPr lang="de-DE" sz="1800" b="1" dirty="0">
                <a:solidFill>
                  <a:srgbClr val="57676F"/>
                </a:solidFill>
                <a:latin typeface="BundesSansWeb"/>
              </a:rPr>
              <a:t>Gebotspreisverfahren „</a:t>
            </a:r>
            <a:r>
              <a:rPr lang="de-DE" sz="1800" b="1" dirty="0" err="1">
                <a:solidFill>
                  <a:srgbClr val="57676F"/>
                </a:solidFill>
                <a:latin typeface="BundesSansWeb"/>
              </a:rPr>
              <a:t>pay</a:t>
            </a:r>
            <a:r>
              <a:rPr lang="de-DE" sz="1800" b="1" dirty="0">
                <a:solidFill>
                  <a:srgbClr val="57676F"/>
                </a:solidFill>
                <a:latin typeface="BundesSansWeb"/>
              </a:rPr>
              <a:t> </a:t>
            </a:r>
            <a:r>
              <a:rPr lang="de-DE" sz="1800" b="1" dirty="0" err="1">
                <a:solidFill>
                  <a:srgbClr val="57676F"/>
                </a:solidFill>
                <a:latin typeface="BundesSansWeb"/>
              </a:rPr>
              <a:t>as</a:t>
            </a:r>
            <a:r>
              <a:rPr lang="de-DE" sz="1800" b="1" dirty="0">
                <a:solidFill>
                  <a:srgbClr val="57676F"/>
                </a:solidFill>
                <a:latin typeface="BundesSansWeb"/>
              </a:rPr>
              <a:t> </a:t>
            </a:r>
            <a:r>
              <a:rPr lang="de-DE" sz="1800" b="1" dirty="0" err="1">
                <a:solidFill>
                  <a:srgbClr val="57676F"/>
                </a:solidFill>
                <a:latin typeface="BundesSansWeb"/>
              </a:rPr>
              <a:t>bid</a:t>
            </a:r>
            <a:r>
              <a:rPr lang="de-DE" sz="1800" b="1" dirty="0">
                <a:solidFill>
                  <a:srgbClr val="57676F"/>
                </a:solidFill>
                <a:latin typeface="BundesSansWeb"/>
              </a:rPr>
              <a:t>“</a:t>
            </a:r>
            <a:endParaRPr lang="de-DE" sz="18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i="0" dirty="0">
                <a:solidFill>
                  <a:srgbClr val="57676F"/>
                </a:solidFill>
                <a:effectLst/>
                <a:latin typeface="BundesSansWeb"/>
              </a:rPr>
              <a:t>Der Höchstwert beträgt für diesen Gebotstermin </a:t>
            </a:r>
            <a:r>
              <a:rPr lang="de-DE" sz="1800" b="1" i="0" dirty="0">
                <a:solidFill>
                  <a:srgbClr val="57676F"/>
                </a:solidFill>
                <a:effectLst/>
                <a:latin typeface="BundesSansWeb"/>
              </a:rPr>
              <a:t>8,91 Cent/kW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rgbClr val="57676F"/>
                </a:solidFill>
                <a:latin typeface="BundesSansWeb"/>
              </a:rPr>
              <a:t>Mittlerer Zuschlagswert aus April 8,53 Cent/kWh</a:t>
            </a: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i="0" dirty="0">
                <a:solidFill>
                  <a:srgbClr val="57676F"/>
                </a:solidFill>
                <a:effectLst/>
                <a:latin typeface="BundesSansWeb"/>
              </a:rPr>
              <a:t>Die zulässigen Erlösobergrenzen ergeben sich aus den von den Regulierungsbehörden geprüften Kosten für Betrieb, Unterhaltung und Ausbau des Netzes zuzüglich eines regulatorischen Gewinns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9747825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9B20E4-A557-D9DA-5B60-1C061942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cs typeface="Calibri"/>
              </a:rPr>
              <a:t>Kosten PV-Anla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FAB4D2-504D-D930-44CA-03B10A3110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A285A7D-5C1D-A4DA-A07F-8DE394ABF7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>
                <a:hlinkClick r:id="rId3"/>
              </a:rPr>
              <a:t>ise.fraunhofer.d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2FF95A-3BF4-C41B-ED14-6C8C89F9CA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NTENSE AG | </a:t>
            </a:r>
            <a:fld id="{1AECD170-D2B3-4E4C-A20D-E298409E7030}" type="slidenum">
              <a:rPr smtClean="0"/>
              <a:pPr/>
              <a:t>2</a:t>
            </a:fld>
            <a:endParaRPr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A993C1A-37E6-4E9D-0E73-474B51AFA8B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8" name="Tabelle 8">
            <a:extLst>
              <a:ext uri="{FF2B5EF4-FFF2-40B4-BE49-F238E27FC236}">
                <a16:creationId xmlns:a16="http://schemas.microsoft.com/office/drawing/2014/main" id="{170B6D0D-2949-E601-6D9F-52BD25DA6942}"/>
              </a:ext>
            </a:extLst>
          </p:cNvPr>
          <p:cNvGraphicFramePr>
            <a:graphicFrameLocks noGrp="1"/>
          </p:cNvGraphicFramePr>
          <p:nvPr>
            <p:ph sz="quarter" idx="20"/>
            <p:extLst>
              <p:ext uri="{D42A27DB-BD31-4B8C-83A1-F6EECF244321}">
                <p14:modId xmlns:p14="http://schemas.microsoft.com/office/powerpoint/2010/main" val="3000895652"/>
              </p:ext>
            </p:extLst>
          </p:nvPr>
        </p:nvGraphicFramePr>
        <p:xfrm>
          <a:off x="572304" y="1405321"/>
          <a:ext cx="6372506" cy="1506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6481">
                  <a:extLst>
                    <a:ext uri="{9D8B030D-6E8A-4147-A177-3AD203B41FA5}">
                      <a16:colId xmlns:a16="http://schemas.microsoft.com/office/drawing/2014/main" val="3106909626"/>
                    </a:ext>
                  </a:extLst>
                </a:gridCol>
                <a:gridCol w="3646025">
                  <a:extLst>
                    <a:ext uri="{9D8B030D-6E8A-4147-A177-3AD203B41FA5}">
                      <a16:colId xmlns:a16="http://schemas.microsoft.com/office/drawing/2014/main" val="10141251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Nominal </a:t>
                      </a:r>
                      <a:r>
                        <a:rPr lang="de-DE" dirty="0" err="1"/>
                        <a:t>Capacity</a:t>
                      </a:r>
                      <a:r>
                        <a:rPr lang="de-DE" dirty="0"/>
                        <a:t> P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Feed-In </a:t>
                      </a:r>
                      <a:r>
                        <a:rPr lang="de-DE" dirty="0" err="1"/>
                        <a:t>tariff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3425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&lt; 10 kW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8,6 Cent/ 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0979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&lt; 40 kW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7,5 Cent/ 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3796011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dirty="0"/>
                        <a:t>&lt; 750 kW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dirty="0"/>
                        <a:t>6,2 Cent / kWh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869648"/>
                  </a:ext>
                </a:extLst>
              </a:tr>
            </a:tbl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7744EFDD-348A-BD5D-115A-FBD0CB9122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7586" y="1405321"/>
            <a:ext cx="3710918" cy="5346652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11641D1A-1EFC-CF74-FCD4-B2ACE48BB2BF}"/>
              </a:ext>
            </a:extLst>
          </p:cNvPr>
          <p:cNvSpPr txBox="1"/>
          <p:nvPr/>
        </p:nvSpPr>
        <p:spPr>
          <a:xfrm>
            <a:off x="572304" y="3451744"/>
            <a:ext cx="6372506" cy="26025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Die Stromgestehungskosten für PV-Batteriesysteme liegen heute zwischen 5,24 und 19,72 ct/kW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Die durchschnittliche Festvergütung für PV-Strom ist bis zum Jahr 2022 auf voraussichtlich 21,3 ct/kW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008338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E1555787-91AF-4D3C-8B75-990C1738C9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873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673A38E9-C458-4543-8F5F-4E5462E32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entgelte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FE7C182-DA6D-4DC9-822F-4DC2A01341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28A120C-7F32-4EFE-8693-F40926A47B4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7F6EC67-872E-4ED1-8BDD-FC780F76E7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INTENSE AG | </a:t>
            </a:r>
            <a:fld id="{1AECD170-D2B3-4E4C-A20D-E298409E7030}" type="slidenum">
              <a:rPr smtClean="0"/>
              <a:pPr/>
              <a:t>3</a:t>
            </a:fld>
            <a:endParaRPr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9D5A29A-19BC-4DC5-A56C-C1FAC767E09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B8355266-048A-4544-BEE4-72CA9EBC88E5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0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wenn innerhalb eines Kalenderjahres die Stromabnahme einer Abnahmestelle </a:t>
            </a:r>
            <a:r>
              <a:rPr lang="de-DE" sz="1800" b="1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mindestens 7.000 Benutzungsstunden </a:t>
            </a:r>
            <a:r>
              <a:rPr lang="de-DE" sz="1800" b="0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erreicht </a:t>
            </a:r>
            <a:r>
              <a:rPr lang="de-DE" sz="1800" b="1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und</a:t>
            </a:r>
            <a:r>
              <a:rPr lang="de-DE" sz="1800" b="0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 der Jahresstromverbrauch der </a:t>
            </a:r>
            <a:r>
              <a:rPr lang="de-DE" sz="1800" b="1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Abnahmestelle zehn </a:t>
            </a:r>
            <a:r>
              <a:rPr lang="de-DE" sz="1800" b="1" i="0" u="none" strike="noStrike" dirty="0" err="1">
                <a:solidFill>
                  <a:srgbClr val="2D2D2D"/>
                </a:solidFill>
                <a:effectLst/>
                <a:latin typeface="PwC Helvetica Neue"/>
              </a:rPr>
              <a:t>GWh</a:t>
            </a:r>
            <a:r>
              <a:rPr lang="de-DE" sz="1800" b="1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 übersteigt</a:t>
            </a:r>
            <a:r>
              <a:rPr lang="de-DE" sz="1800" b="0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. In diesem Fall ist eine </a:t>
            </a:r>
            <a:r>
              <a:rPr lang="de-DE" sz="1800" b="1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Reduzierung von bis zu 90 Prozent der Kosten </a:t>
            </a:r>
            <a:r>
              <a:rPr lang="de-DE" sz="1800" b="0" i="0" u="none" strike="noStrike" dirty="0">
                <a:solidFill>
                  <a:srgbClr val="2D2D2D"/>
                </a:solidFill>
                <a:effectLst/>
                <a:latin typeface="PwC Helvetica Neue"/>
              </a:rPr>
              <a:t>möglich.</a:t>
            </a:r>
            <a:r>
              <a:rPr lang="de-DE" sz="1800" b="0" i="0" dirty="0">
                <a:solidFill>
                  <a:srgbClr val="000000"/>
                </a:solidFill>
                <a:effectLst/>
                <a:latin typeface="PwC Helvetica Neue"/>
              </a:rPr>
              <a:t>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015166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Erl36CQQIjD2MkTI5a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maNgCG4F3y0ZfhwNcl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PzMmj7tSOQtpN_7Adx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oNU7IiOkKOJ25IvJAF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c_B4pnyVZ9oJaC13ON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keHsc8Mm8gbNlvB1dd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MHwjZ3Sm16QIWvUiKP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ense">
  <a:themeElements>
    <a:clrScheme name="Intense">
      <a:dk1>
        <a:srgbClr val="003C78"/>
      </a:dk1>
      <a:lt1>
        <a:srgbClr val="FFFFFF"/>
      </a:lt1>
      <a:dk2>
        <a:srgbClr val="415055"/>
      </a:dk2>
      <a:lt2>
        <a:srgbClr val="82C3E6"/>
      </a:lt2>
      <a:accent1>
        <a:srgbClr val="0078C3"/>
      </a:accent1>
      <a:accent2>
        <a:srgbClr val="CDA541"/>
      </a:accent2>
      <a:accent3>
        <a:srgbClr val="EB5046"/>
      </a:accent3>
      <a:accent4>
        <a:srgbClr val="1EAA78"/>
      </a:accent4>
      <a:accent5>
        <a:srgbClr val="FFCD50"/>
      </a:accent5>
      <a:accent6>
        <a:srgbClr val="A0A5AA"/>
      </a:accent6>
      <a:hlink>
        <a:srgbClr val="0078C3"/>
      </a:hlink>
      <a:folHlink>
        <a:srgbClr val="EB504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tlCol="0" anchor="ctr"/>
      <a:lstStyle>
        <a:defPPr algn="ctr">
          <a:lnSpc>
            <a:spcPts val="2100"/>
          </a:lnSpc>
          <a:spcBef>
            <a:spcPts val="600"/>
          </a:spcBef>
          <a:defRPr sz="16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algn="l">
          <a:lnSpc>
            <a:spcPts val="2100"/>
          </a:lnSpc>
          <a:spcBef>
            <a:spcPts val="600"/>
          </a:spcBef>
          <a:defRPr sz="1600" dirty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CFB85011-72A3-4613-8429-7E96A5801DB4}" vid="{03D5C888-D295-4C6C-9031-6066CC5013D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59BEB2CBA4D1A428E24793F57222BBA" ma:contentTypeVersion="2" ma:contentTypeDescription="Ein neues Dokument erstellen." ma:contentTypeScope="" ma:versionID="2c5055ef0aaf03a26c2b23409ef594a4">
  <xsd:schema xmlns:xsd="http://www.w3.org/2001/XMLSchema" xmlns:xs="http://www.w3.org/2001/XMLSchema" xmlns:p="http://schemas.microsoft.com/office/2006/metadata/properties" xmlns:ns2="83d292a6-f5f6-4910-ad97-56e089ac838a" targetNamespace="http://schemas.microsoft.com/office/2006/metadata/properties" ma:root="true" ma:fieldsID="18aabb45b925a3e63698b5a56cd321a5" ns2:_="">
    <xsd:import namespace="83d292a6-f5f6-4910-ad97-56e089ac83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d292a6-f5f6-4910-ad97-56e089ac83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850A576-D975-40EE-8E1F-D9DF487168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d292a6-f5f6-4910-ad97-56e089ac83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DAA17F-008A-473A-9379-CA698A9CF7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543B8EE-F80D-4D07-A61A-C2C88D7B9831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83d292a6-f5f6-4910-ad97-56e089ac838a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06</Words>
  <Application>Microsoft Office PowerPoint</Application>
  <PresentationFormat>Benutzerdefiniert</PresentationFormat>
  <Paragraphs>27</Paragraphs>
  <Slides>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2" baseType="lpstr">
      <vt:lpstr>Arial</vt:lpstr>
      <vt:lpstr>BundesSansWeb</vt:lpstr>
      <vt:lpstr>Calibri</vt:lpstr>
      <vt:lpstr>PwC Helvetica Neue</vt:lpstr>
      <vt:lpstr>Symbol</vt:lpstr>
      <vt:lpstr>Wingdings</vt:lpstr>
      <vt:lpstr>Intense</vt:lpstr>
      <vt:lpstr>think-cell Folie</vt:lpstr>
      <vt:lpstr>PowerPoint-Präsentation</vt:lpstr>
      <vt:lpstr>Kosten Photovoltaik</vt:lpstr>
      <vt:lpstr>Kosten PV-Anlagen</vt:lpstr>
      <vt:lpstr>Netzentgelt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ximilian Rallis [INTENSE AG]</dc:creator>
  <cp:lastModifiedBy>Maximilian Rallis [INTENSE AG]</cp:lastModifiedBy>
  <cp:revision>1</cp:revision>
  <dcterms:created xsi:type="dcterms:W3CDTF">2022-11-30T10:30:41Z</dcterms:created>
  <dcterms:modified xsi:type="dcterms:W3CDTF">2022-12-01T15:2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9BEB2CBA4D1A428E24793F57222BBA</vt:lpwstr>
  </property>
</Properties>
</file>